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453" r:id="rId2"/>
    <p:sldId id="418" r:id="rId3"/>
    <p:sldId id="452" r:id="rId4"/>
    <p:sldId id="449" r:id="rId5"/>
    <p:sldId id="455" r:id="rId6"/>
    <p:sldId id="454" r:id="rId7"/>
    <p:sldId id="420" r:id="rId8"/>
    <p:sldId id="450" r:id="rId9"/>
    <p:sldId id="437" r:id="rId10"/>
    <p:sldId id="428" r:id="rId11"/>
    <p:sldId id="441" r:id="rId12"/>
  </p:sldIdLst>
  <p:sldSz cx="12192000" cy="6858000"/>
  <p:notesSz cx="7010400" cy="9296400"/>
  <p:custDataLst>
    <p:tags r:id="rId15"/>
  </p:custDataLst>
  <p:defaultTextStyle>
    <a:defPPr>
      <a:defRPr lang="en-US"/>
    </a:defPPr>
    <a:lvl1pPr marL="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F8BBE8-5958-4C0B-907A-C92FCA713FDE}">
          <p14:sldIdLst>
            <p14:sldId id="453"/>
            <p14:sldId id="418"/>
            <p14:sldId id="452"/>
            <p14:sldId id="449"/>
            <p14:sldId id="455"/>
            <p14:sldId id="454"/>
            <p14:sldId id="420"/>
            <p14:sldId id="450"/>
            <p14:sldId id="437"/>
            <p14:sldId id="428"/>
            <p14:sldId id="4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os castro" initials="cc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1B5"/>
    <a:srgbClr val="FFF89B"/>
    <a:srgbClr val="CCE8AE"/>
    <a:srgbClr val="F9FF9F"/>
    <a:srgbClr val="F0F0F0"/>
    <a:srgbClr val="FC9739"/>
    <a:srgbClr val="8567A9"/>
    <a:srgbClr val="B8A7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79568" autoAdjust="0"/>
  </p:normalViewPr>
  <p:slideViewPr>
    <p:cSldViewPr snapToGrid="0">
      <p:cViewPr varScale="1">
        <p:scale>
          <a:sx n="66" d="100"/>
          <a:sy n="66" d="100"/>
        </p:scale>
        <p:origin x="679" y="1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72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2F20FE-F6DF-44D7-AA8E-97F0AF03877A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9C259C41-8D57-49EE-A202-D86EC53E69B5}">
      <dgm:prSet phldrT="[Text]"/>
      <dgm:spPr/>
      <dgm:t>
        <a:bodyPr/>
        <a:lstStyle/>
        <a:p>
          <a:r>
            <a:rPr lang="en-US" dirty="0" smtClean="0"/>
            <a:t>Data</a:t>
          </a:r>
          <a:endParaRPr lang="en-US" dirty="0"/>
        </a:p>
      </dgm:t>
    </dgm:pt>
    <dgm:pt modelId="{1BC3EF34-198D-4161-ACC2-BE4C7C7FC6FC}" type="parTrans" cxnId="{6C6F349A-E8DE-4AFA-8403-D0714468B69B}">
      <dgm:prSet/>
      <dgm:spPr/>
      <dgm:t>
        <a:bodyPr/>
        <a:lstStyle/>
        <a:p>
          <a:endParaRPr lang="en-US"/>
        </a:p>
      </dgm:t>
    </dgm:pt>
    <dgm:pt modelId="{26A307E5-99E7-45C6-9C30-77C1672748CB}" type="sibTrans" cxnId="{6C6F349A-E8DE-4AFA-8403-D0714468B69B}">
      <dgm:prSet/>
      <dgm:spPr/>
      <dgm:t>
        <a:bodyPr/>
        <a:lstStyle/>
        <a:p>
          <a:endParaRPr lang="en-US"/>
        </a:p>
      </dgm:t>
    </dgm:pt>
    <dgm:pt modelId="{0D653A56-539D-44FD-BEFF-9E95370F1B4B}">
      <dgm:prSet phldrT="[Text]"/>
      <dgm:spPr/>
      <dgm:t>
        <a:bodyPr/>
        <a:lstStyle/>
        <a:p>
          <a:r>
            <a:rPr lang="en-US" dirty="0" smtClean="0"/>
            <a:t>Categorical</a:t>
          </a:r>
          <a:endParaRPr lang="en-US" dirty="0"/>
        </a:p>
      </dgm:t>
    </dgm:pt>
    <dgm:pt modelId="{CF640C91-CFEA-49FE-857C-127AC7879969}" type="parTrans" cxnId="{2D0E91BE-0ECB-4CE1-9795-3B23A16A0DBA}">
      <dgm:prSet/>
      <dgm:spPr/>
      <dgm:t>
        <a:bodyPr/>
        <a:lstStyle/>
        <a:p>
          <a:endParaRPr lang="en-US"/>
        </a:p>
      </dgm:t>
    </dgm:pt>
    <dgm:pt modelId="{E1DF0FFF-B305-4777-AADC-C385CDE4771E}" type="sibTrans" cxnId="{2D0E91BE-0ECB-4CE1-9795-3B23A16A0DBA}">
      <dgm:prSet/>
      <dgm:spPr/>
      <dgm:t>
        <a:bodyPr/>
        <a:lstStyle/>
        <a:p>
          <a:endParaRPr lang="en-US"/>
        </a:p>
      </dgm:t>
    </dgm:pt>
    <dgm:pt modelId="{6676D2A1-59FB-4753-9089-2B66F2871C35}">
      <dgm:prSet phldrT="[Text]"/>
      <dgm:spPr/>
      <dgm:t>
        <a:bodyPr/>
        <a:lstStyle/>
        <a:p>
          <a:r>
            <a:rPr lang="en-US" dirty="0" smtClean="0"/>
            <a:t>Nominal</a:t>
          </a:r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BldgType</a:t>
          </a:r>
          <a:r>
            <a:rPr lang="en-US" dirty="0" smtClean="0"/>
            <a:t>)</a:t>
          </a:r>
          <a:endParaRPr lang="en-US" dirty="0"/>
        </a:p>
      </dgm:t>
    </dgm:pt>
    <dgm:pt modelId="{06BCFB5F-044E-474F-92D9-BD34429CFDB9}" type="parTrans" cxnId="{83B5EFE0-69F2-4A9D-91F7-29122BD20C11}">
      <dgm:prSet/>
      <dgm:spPr/>
      <dgm:t>
        <a:bodyPr/>
        <a:lstStyle/>
        <a:p>
          <a:endParaRPr lang="en-US"/>
        </a:p>
      </dgm:t>
    </dgm:pt>
    <dgm:pt modelId="{E5425ED6-41CE-4BBE-AACB-7F37FDD0418D}" type="sibTrans" cxnId="{83B5EFE0-69F2-4A9D-91F7-29122BD20C11}">
      <dgm:prSet/>
      <dgm:spPr/>
      <dgm:t>
        <a:bodyPr/>
        <a:lstStyle/>
        <a:p>
          <a:endParaRPr lang="en-US"/>
        </a:p>
      </dgm:t>
    </dgm:pt>
    <dgm:pt modelId="{41B4A4AD-506A-4A29-A7F8-4E18072C9B82}">
      <dgm:prSet phldrT="[Text]"/>
      <dgm:spPr/>
      <dgm:t>
        <a:bodyPr/>
        <a:lstStyle/>
        <a:p>
          <a:r>
            <a:rPr lang="en-US" dirty="0" smtClean="0"/>
            <a:t>Ordinal</a:t>
          </a:r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PoolQC</a:t>
          </a:r>
          <a:r>
            <a:rPr lang="en-US" dirty="0" smtClean="0"/>
            <a:t>)</a:t>
          </a:r>
          <a:endParaRPr lang="en-US" dirty="0"/>
        </a:p>
      </dgm:t>
    </dgm:pt>
    <dgm:pt modelId="{CE5D189C-57EC-4656-B140-DB4F70B84F0B}" type="parTrans" cxnId="{5E2547CE-0801-457F-B200-A655F08CA553}">
      <dgm:prSet/>
      <dgm:spPr/>
      <dgm:t>
        <a:bodyPr/>
        <a:lstStyle/>
        <a:p>
          <a:endParaRPr lang="en-US"/>
        </a:p>
      </dgm:t>
    </dgm:pt>
    <dgm:pt modelId="{1DABFF0E-49FD-4B34-9C56-A7B4BDF9AD39}" type="sibTrans" cxnId="{5E2547CE-0801-457F-B200-A655F08CA553}">
      <dgm:prSet/>
      <dgm:spPr/>
      <dgm:t>
        <a:bodyPr/>
        <a:lstStyle/>
        <a:p>
          <a:endParaRPr lang="en-US"/>
        </a:p>
      </dgm:t>
    </dgm:pt>
    <dgm:pt modelId="{8B4AC9AA-2EFA-43D9-8F6C-C2A5D6404996}">
      <dgm:prSet phldrT="[Text]"/>
      <dgm:spPr/>
      <dgm:t>
        <a:bodyPr/>
        <a:lstStyle/>
        <a:p>
          <a:r>
            <a:rPr lang="en-US" dirty="0" smtClean="0"/>
            <a:t>Numeric</a:t>
          </a:r>
          <a:endParaRPr lang="en-US" dirty="0"/>
        </a:p>
      </dgm:t>
    </dgm:pt>
    <dgm:pt modelId="{41EAFA2B-6431-41C0-A843-FFB69287E7AA}" type="parTrans" cxnId="{80BBC674-9227-4368-9D29-A5559A469A89}">
      <dgm:prSet/>
      <dgm:spPr/>
      <dgm:t>
        <a:bodyPr/>
        <a:lstStyle/>
        <a:p>
          <a:endParaRPr lang="en-US"/>
        </a:p>
      </dgm:t>
    </dgm:pt>
    <dgm:pt modelId="{DB4D51CB-0CA9-4E3C-A744-EF7D7B906130}" type="sibTrans" cxnId="{80BBC674-9227-4368-9D29-A5559A469A89}">
      <dgm:prSet/>
      <dgm:spPr/>
      <dgm:t>
        <a:bodyPr/>
        <a:lstStyle/>
        <a:p>
          <a:endParaRPr lang="en-US"/>
        </a:p>
      </dgm:t>
    </dgm:pt>
    <dgm:pt modelId="{9FA63974-C94E-4854-8DAD-07252D83AEB0}">
      <dgm:prSet phldrT="[Text]"/>
      <dgm:spPr/>
      <dgm:t>
        <a:bodyPr/>
        <a:lstStyle/>
        <a:p>
          <a:r>
            <a:rPr lang="en-US" dirty="0" smtClean="0"/>
            <a:t>Floats</a:t>
          </a:r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Frontage</a:t>
          </a:r>
          <a:r>
            <a:rPr lang="en-US" dirty="0" smtClean="0"/>
            <a:t>)</a:t>
          </a:r>
          <a:endParaRPr lang="en-US" dirty="0"/>
        </a:p>
      </dgm:t>
    </dgm:pt>
    <dgm:pt modelId="{9EF26CD6-0898-4C36-B76A-8B5D3E031705}" type="parTrans" cxnId="{E4A45747-212C-4BDE-9EFE-D1B1C8F03E37}">
      <dgm:prSet/>
      <dgm:spPr/>
      <dgm:t>
        <a:bodyPr/>
        <a:lstStyle/>
        <a:p>
          <a:endParaRPr lang="en-US"/>
        </a:p>
      </dgm:t>
    </dgm:pt>
    <dgm:pt modelId="{3710FC63-9453-4180-AD01-31FFD3EE37EC}" type="sibTrans" cxnId="{E4A45747-212C-4BDE-9EFE-D1B1C8F03E37}">
      <dgm:prSet/>
      <dgm:spPr/>
      <dgm:t>
        <a:bodyPr/>
        <a:lstStyle/>
        <a:p>
          <a:endParaRPr lang="en-US"/>
        </a:p>
      </dgm:t>
    </dgm:pt>
    <dgm:pt modelId="{BCBBD335-39ED-4E62-8F52-4AC6EE3D9BB7}">
      <dgm:prSet/>
      <dgm:spPr/>
      <dgm:t>
        <a:bodyPr/>
        <a:lstStyle/>
        <a:p>
          <a:r>
            <a:rPr lang="en-US" dirty="0" err="1" smtClean="0"/>
            <a:t>Int</a:t>
          </a:r>
          <a:endParaRPr lang="en-US" dirty="0" smtClean="0"/>
        </a:p>
        <a:p>
          <a:r>
            <a:rPr lang="en-US" dirty="0" smtClean="0"/>
            <a:t>(</a:t>
          </a:r>
          <a:r>
            <a:rPr lang="en-US" b="1" i="1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Area</a:t>
          </a:r>
          <a:r>
            <a:rPr lang="en-US" dirty="0" smtClean="0"/>
            <a:t>)</a:t>
          </a:r>
          <a:endParaRPr lang="en-US" dirty="0"/>
        </a:p>
      </dgm:t>
    </dgm:pt>
    <dgm:pt modelId="{4533C012-17C6-490C-9D5F-9C8430242A5A}" type="parTrans" cxnId="{BBE92C3E-5C50-4D77-AF4E-979835AE1EDE}">
      <dgm:prSet/>
      <dgm:spPr/>
      <dgm:t>
        <a:bodyPr/>
        <a:lstStyle/>
        <a:p>
          <a:endParaRPr lang="en-US"/>
        </a:p>
      </dgm:t>
    </dgm:pt>
    <dgm:pt modelId="{3125A8C4-EFB8-4265-8DA6-8BDD03922481}" type="sibTrans" cxnId="{BBE92C3E-5C50-4D77-AF4E-979835AE1EDE}">
      <dgm:prSet/>
      <dgm:spPr/>
      <dgm:t>
        <a:bodyPr/>
        <a:lstStyle/>
        <a:p>
          <a:endParaRPr lang="en-US"/>
        </a:p>
      </dgm:t>
    </dgm:pt>
    <dgm:pt modelId="{24884889-44A0-4A12-A147-869C9F821704}" type="pres">
      <dgm:prSet presAssocID="{7B2F20FE-F6DF-44D7-AA8E-97F0AF03877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848ECC2-ED42-4793-B722-49BE947865BF}" type="pres">
      <dgm:prSet presAssocID="{9C259C41-8D57-49EE-A202-D86EC53E69B5}" presName="hierRoot1" presStyleCnt="0"/>
      <dgm:spPr/>
    </dgm:pt>
    <dgm:pt modelId="{7B2B06BC-519D-4B5E-A7B1-2DFB71507CC7}" type="pres">
      <dgm:prSet presAssocID="{9C259C41-8D57-49EE-A202-D86EC53E69B5}" presName="composite" presStyleCnt="0"/>
      <dgm:spPr/>
    </dgm:pt>
    <dgm:pt modelId="{DB4CB740-2B29-4A13-8EC8-E830E3F09529}" type="pres">
      <dgm:prSet presAssocID="{9C259C41-8D57-49EE-A202-D86EC53E69B5}" presName="image" presStyleLbl="node0" presStyleIdx="0" presStyleCnt="1"/>
      <dgm:spPr/>
    </dgm:pt>
    <dgm:pt modelId="{EA853F32-99B4-4C48-A776-EEBAD36FB889}" type="pres">
      <dgm:prSet presAssocID="{9C259C41-8D57-49EE-A202-D86EC53E69B5}" presName="text" presStyleLbl="revTx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CDBA271-A7D4-49C2-9FD9-66621E9A26F0}" type="pres">
      <dgm:prSet presAssocID="{9C259C41-8D57-49EE-A202-D86EC53E69B5}" presName="hierChild2" presStyleCnt="0"/>
      <dgm:spPr/>
    </dgm:pt>
    <dgm:pt modelId="{FD8943B5-4659-4A64-AB6C-8907952FCFC1}" type="pres">
      <dgm:prSet presAssocID="{CF640C91-CFEA-49FE-857C-127AC7879969}" presName="Name10" presStyleLbl="parChTrans1D2" presStyleIdx="0" presStyleCnt="2"/>
      <dgm:spPr/>
      <dgm:t>
        <a:bodyPr/>
        <a:lstStyle/>
        <a:p>
          <a:endParaRPr lang="en-US"/>
        </a:p>
      </dgm:t>
    </dgm:pt>
    <dgm:pt modelId="{F8AFF3FF-C1E2-4E04-B382-73BEBECD6433}" type="pres">
      <dgm:prSet presAssocID="{0D653A56-539D-44FD-BEFF-9E95370F1B4B}" presName="hierRoot2" presStyleCnt="0"/>
      <dgm:spPr/>
    </dgm:pt>
    <dgm:pt modelId="{5F80E5ED-ABCA-4D5D-8B2B-0BBBB4971C2A}" type="pres">
      <dgm:prSet presAssocID="{0D653A56-539D-44FD-BEFF-9E95370F1B4B}" presName="composite2" presStyleCnt="0"/>
      <dgm:spPr/>
    </dgm:pt>
    <dgm:pt modelId="{294CDA32-962E-4C60-B934-8F04BFA67F47}" type="pres">
      <dgm:prSet presAssocID="{0D653A56-539D-44FD-BEFF-9E95370F1B4B}" presName="image2" presStyleLbl="node2" presStyleIdx="0" presStyleCnt="2"/>
      <dgm:spPr/>
    </dgm:pt>
    <dgm:pt modelId="{FD657F5E-AE50-4898-835F-AAE7DCDCD02A}" type="pres">
      <dgm:prSet presAssocID="{0D653A56-539D-44FD-BEFF-9E95370F1B4B}" presName="text2" presStyleLbl="revTx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0DDC337-812C-4751-B4D6-9473C52F257D}" type="pres">
      <dgm:prSet presAssocID="{0D653A56-539D-44FD-BEFF-9E95370F1B4B}" presName="hierChild3" presStyleCnt="0"/>
      <dgm:spPr/>
    </dgm:pt>
    <dgm:pt modelId="{46587A7A-684F-4326-AD3A-B2AFE0630213}" type="pres">
      <dgm:prSet presAssocID="{06BCFB5F-044E-474F-92D9-BD34429CFDB9}" presName="Name17" presStyleLbl="parChTrans1D3" presStyleIdx="0" presStyleCnt="4"/>
      <dgm:spPr/>
      <dgm:t>
        <a:bodyPr/>
        <a:lstStyle/>
        <a:p>
          <a:endParaRPr lang="en-US"/>
        </a:p>
      </dgm:t>
    </dgm:pt>
    <dgm:pt modelId="{8E34A49F-77C2-4EDE-98E2-29D2A745ED91}" type="pres">
      <dgm:prSet presAssocID="{6676D2A1-59FB-4753-9089-2B66F2871C35}" presName="hierRoot3" presStyleCnt="0"/>
      <dgm:spPr/>
    </dgm:pt>
    <dgm:pt modelId="{F50B18EB-FE84-41E8-9996-2C7A4008FE53}" type="pres">
      <dgm:prSet presAssocID="{6676D2A1-59FB-4753-9089-2B66F2871C35}" presName="composite3" presStyleCnt="0"/>
      <dgm:spPr/>
    </dgm:pt>
    <dgm:pt modelId="{3060B05C-5949-4FD5-8F4F-27E1A85E3D9A}" type="pres">
      <dgm:prSet presAssocID="{6676D2A1-59FB-4753-9089-2B66F2871C35}" presName="image3" presStyleLbl="node3" presStyleIdx="0" presStyleCnt="4"/>
      <dgm:spPr/>
    </dgm:pt>
    <dgm:pt modelId="{22A5F2D7-9EAA-4D05-B67B-E1F19DE88048}" type="pres">
      <dgm:prSet presAssocID="{6676D2A1-59FB-4753-9089-2B66F2871C35}" presName="text3" presStyleLbl="revTx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AD6A7B1-43EB-4565-A626-658FC3BE6E3C}" type="pres">
      <dgm:prSet presAssocID="{6676D2A1-59FB-4753-9089-2B66F2871C35}" presName="hierChild4" presStyleCnt="0"/>
      <dgm:spPr/>
    </dgm:pt>
    <dgm:pt modelId="{B6E26AE0-2D41-45EE-A47C-568816FE8687}" type="pres">
      <dgm:prSet presAssocID="{CE5D189C-57EC-4656-B140-DB4F70B84F0B}" presName="Name17" presStyleLbl="parChTrans1D3" presStyleIdx="1" presStyleCnt="4"/>
      <dgm:spPr/>
      <dgm:t>
        <a:bodyPr/>
        <a:lstStyle/>
        <a:p>
          <a:endParaRPr lang="en-US"/>
        </a:p>
      </dgm:t>
    </dgm:pt>
    <dgm:pt modelId="{122F88AF-F311-498B-BCBE-1DFF86745FE3}" type="pres">
      <dgm:prSet presAssocID="{41B4A4AD-506A-4A29-A7F8-4E18072C9B82}" presName="hierRoot3" presStyleCnt="0"/>
      <dgm:spPr/>
    </dgm:pt>
    <dgm:pt modelId="{211A4747-A2B9-490D-8FA9-7E14F06F6C69}" type="pres">
      <dgm:prSet presAssocID="{41B4A4AD-506A-4A29-A7F8-4E18072C9B82}" presName="composite3" presStyleCnt="0"/>
      <dgm:spPr/>
    </dgm:pt>
    <dgm:pt modelId="{C1D7D1AD-C387-4FF9-9D7F-91C1B4223DEE}" type="pres">
      <dgm:prSet presAssocID="{41B4A4AD-506A-4A29-A7F8-4E18072C9B82}" presName="image3" presStyleLbl="node3" presStyleIdx="1" presStyleCnt="4"/>
      <dgm:spPr/>
    </dgm:pt>
    <dgm:pt modelId="{D67BEB13-E3F4-4EA9-8C76-184C13B4B558}" type="pres">
      <dgm:prSet presAssocID="{41B4A4AD-506A-4A29-A7F8-4E18072C9B82}" presName="text3" presStyleLbl="revTx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E860480-505E-4ED4-AC4B-D4273F58FF26}" type="pres">
      <dgm:prSet presAssocID="{41B4A4AD-506A-4A29-A7F8-4E18072C9B82}" presName="hierChild4" presStyleCnt="0"/>
      <dgm:spPr/>
    </dgm:pt>
    <dgm:pt modelId="{512CAB36-A076-40AC-8103-99AD11614ABF}" type="pres">
      <dgm:prSet presAssocID="{41EAFA2B-6431-41C0-A843-FFB69287E7AA}" presName="Name10" presStyleLbl="parChTrans1D2" presStyleIdx="1" presStyleCnt="2"/>
      <dgm:spPr/>
      <dgm:t>
        <a:bodyPr/>
        <a:lstStyle/>
        <a:p>
          <a:endParaRPr lang="en-US"/>
        </a:p>
      </dgm:t>
    </dgm:pt>
    <dgm:pt modelId="{6FBEC15A-C7E4-47C5-945C-651BF88A4F73}" type="pres">
      <dgm:prSet presAssocID="{8B4AC9AA-2EFA-43D9-8F6C-C2A5D6404996}" presName="hierRoot2" presStyleCnt="0"/>
      <dgm:spPr/>
    </dgm:pt>
    <dgm:pt modelId="{E0D0A537-8045-44C3-9E50-2ED98DF27E4C}" type="pres">
      <dgm:prSet presAssocID="{8B4AC9AA-2EFA-43D9-8F6C-C2A5D6404996}" presName="composite2" presStyleCnt="0"/>
      <dgm:spPr/>
    </dgm:pt>
    <dgm:pt modelId="{828E5BD4-1A8B-419B-974A-3505D20A8497}" type="pres">
      <dgm:prSet presAssocID="{8B4AC9AA-2EFA-43D9-8F6C-C2A5D6404996}" presName="image2" presStyleLbl="node2" presStyleIdx="1" presStyleCnt="2"/>
      <dgm:spPr/>
    </dgm:pt>
    <dgm:pt modelId="{0F6AA520-1308-40DD-A285-CBB8B9E0A8C7}" type="pres">
      <dgm:prSet presAssocID="{8B4AC9AA-2EFA-43D9-8F6C-C2A5D6404996}" presName="text2" presStyleLbl="revTx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FB859-2D8B-42A5-96A4-C28886C5141A}" type="pres">
      <dgm:prSet presAssocID="{8B4AC9AA-2EFA-43D9-8F6C-C2A5D6404996}" presName="hierChild3" presStyleCnt="0"/>
      <dgm:spPr/>
    </dgm:pt>
    <dgm:pt modelId="{FCD15B5E-32D9-417E-8865-CF06BDDEC15F}" type="pres">
      <dgm:prSet presAssocID="{9EF26CD6-0898-4C36-B76A-8B5D3E031705}" presName="Name17" presStyleLbl="parChTrans1D3" presStyleIdx="2" presStyleCnt="4"/>
      <dgm:spPr/>
      <dgm:t>
        <a:bodyPr/>
        <a:lstStyle/>
        <a:p>
          <a:endParaRPr lang="en-US"/>
        </a:p>
      </dgm:t>
    </dgm:pt>
    <dgm:pt modelId="{0F870F70-4CC3-4C7A-A32C-2D5BA601057A}" type="pres">
      <dgm:prSet presAssocID="{9FA63974-C94E-4854-8DAD-07252D83AEB0}" presName="hierRoot3" presStyleCnt="0"/>
      <dgm:spPr/>
    </dgm:pt>
    <dgm:pt modelId="{9DEF5DFE-A1A5-4010-A705-3309F1CB40F1}" type="pres">
      <dgm:prSet presAssocID="{9FA63974-C94E-4854-8DAD-07252D83AEB0}" presName="composite3" presStyleCnt="0"/>
      <dgm:spPr/>
    </dgm:pt>
    <dgm:pt modelId="{F22DCD60-8EB8-442A-8E44-1923FB72C843}" type="pres">
      <dgm:prSet presAssocID="{9FA63974-C94E-4854-8DAD-07252D83AEB0}" presName="image3" presStyleLbl="node3" presStyleIdx="2" presStyleCnt="4"/>
      <dgm:spPr/>
    </dgm:pt>
    <dgm:pt modelId="{F0C3C6F7-9302-47C2-9E22-54D59FB9AC9A}" type="pres">
      <dgm:prSet presAssocID="{9FA63974-C94E-4854-8DAD-07252D83AEB0}" presName="text3" presStyleLbl="revTx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9DF63D6-7DA3-447F-AF22-B96A2F38499D}" type="pres">
      <dgm:prSet presAssocID="{9FA63974-C94E-4854-8DAD-07252D83AEB0}" presName="hierChild4" presStyleCnt="0"/>
      <dgm:spPr/>
    </dgm:pt>
    <dgm:pt modelId="{0176CC9D-7C2F-467F-B81E-F88239D741E2}" type="pres">
      <dgm:prSet presAssocID="{4533C012-17C6-490C-9D5F-9C8430242A5A}" presName="Name17" presStyleLbl="parChTrans1D3" presStyleIdx="3" presStyleCnt="4"/>
      <dgm:spPr/>
      <dgm:t>
        <a:bodyPr/>
        <a:lstStyle/>
        <a:p>
          <a:endParaRPr lang="en-US"/>
        </a:p>
      </dgm:t>
    </dgm:pt>
    <dgm:pt modelId="{51C95626-8CB6-4EA6-A5F5-C12D1475FA03}" type="pres">
      <dgm:prSet presAssocID="{BCBBD335-39ED-4E62-8F52-4AC6EE3D9BB7}" presName="hierRoot3" presStyleCnt="0"/>
      <dgm:spPr/>
    </dgm:pt>
    <dgm:pt modelId="{ADDFF400-B13C-4AE1-ADEE-FB01C8C7B300}" type="pres">
      <dgm:prSet presAssocID="{BCBBD335-39ED-4E62-8F52-4AC6EE3D9BB7}" presName="composite3" presStyleCnt="0"/>
      <dgm:spPr/>
    </dgm:pt>
    <dgm:pt modelId="{690D80E9-4917-4912-A67B-D2ED4E0A4A8E}" type="pres">
      <dgm:prSet presAssocID="{BCBBD335-39ED-4E62-8F52-4AC6EE3D9BB7}" presName="image3" presStyleLbl="node3" presStyleIdx="3" presStyleCnt="4"/>
      <dgm:spPr/>
    </dgm:pt>
    <dgm:pt modelId="{AD1E3388-F32F-4A91-AB4E-4666551F4892}" type="pres">
      <dgm:prSet presAssocID="{BCBBD335-39ED-4E62-8F52-4AC6EE3D9BB7}" presName="text3" presStyleLbl="revTx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57CF30B-95BD-441B-846B-6619F368EC2F}" type="pres">
      <dgm:prSet presAssocID="{BCBBD335-39ED-4E62-8F52-4AC6EE3D9BB7}" presName="hierChild4" presStyleCnt="0"/>
      <dgm:spPr/>
    </dgm:pt>
  </dgm:ptLst>
  <dgm:cxnLst>
    <dgm:cxn modelId="{80BBC674-9227-4368-9D29-A5559A469A89}" srcId="{9C259C41-8D57-49EE-A202-D86EC53E69B5}" destId="{8B4AC9AA-2EFA-43D9-8F6C-C2A5D6404996}" srcOrd="1" destOrd="0" parTransId="{41EAFA2B-6431-41C0-A843-FFB69287E7AA}" sibTransId="{DB4D51CB-0CA9-4E3C-A744-EF7D7B906130}"/>
    <dgm:cxn modelId="{CE165ECD-62A0-4850-9546-3B41DB5AA330}" type="presOf" srcId="{9EF26CD6-0898-4C36-B76A-8B5D3E031705}" destId="{FCD15B5E-32D9-417E-8865-CF06BDDEC15F}" srcOrd="0" destOrd="0" presId="urn:microsoft.com/office/officeart/2009/layout/CirclePictureHierarchy"/>
    <dgm:cxn modelId="{880CA5FE-4770-439A-94CE-8DE78B5B9151}" type="presOf" srcId="{0D653A56-539D-44FD-BEFF-9E95370F1B4B}" destId="{FD657F5E-AE50-4898-835F-AAE7DCDCD02A}" srcOrd="0" destOrd="0" presId="urn:microsoft.com/office/officeart/2009/layout/CirclePictureHierarchy"/>
    <dgm:cxn modelId="{50472370-DAD2-40C1-91EF-15475650984C}" type="presOf" srcId="{4533C012-17C6-490C-9D5F-9C8430242A5A}" destId="{0176CC9D-7C2F-467F-B81E-F88239D741E2}" srcOrd="0" destOrd="0" presId="urn:microsoft.com/office/officeart/2009/layout/CirclePictureHierarchy"/>
    <dgm:cxn modelId="{BBE92C3E-5C50-4D77-AF4E-979835AE1EDE}" srcId="{8B4AC9AA-2EFA-43D9-8F6C-C2A5D6404996}" destId="{BCBBD335-39ED-4E62-8F52-4AC6EE3D9BB7}" srcOrd="1" destOrd="0" parTransId="{4533C012-17C6-490C-9D5F-9C8430242A5A}" sibTransId="{3125A8C4-EFB8-4265-8DA6-8BDD03922481}"/>
    <dgm:cxn modelId="{5E2547CE-0801-457F-B200-A655F08CA553}" srcId="{0D653A56-539D-44FD-BEFF-9E95370F1B4B}" destId="{41B4A4AD-506A-4A29-A7F8-4E18072C9B82}" srcOrd="1" destOrd="0" parTransId="{CE5D189C-57EC-4656-B140-DB4F70B84F0B}" sibTransId="{1DABFF0E-49FD-4B34-9C56-A7B4BDF9AD39}"/>
    <dgm:cxn modelId="{CCDC7B40-842C-4A5A-B842-B6CAEE3FE4A7}" type="presOf" srcId="{CE5D189C-57EC-4656-B140-DB4F70B84F0B}" destId="{B6E26AE0-2D41-45EE-A47C-568816FE8687}" srcOrd="0" destOrd="0" presId="urn:microsoft.com/office/officeart/2009/layout/CirclePictureHierarchy"/>
    <dgm:cxn modelId="{EB177E0C-2E93-47D0-B116-86768AF5E3F5}" type="presOf" srcId="{7B2F20FE-F6DF-44D7-AA8E-97F0AF03877A}" destId="{24884889-44A0-4A12-A147-869C9F821704}" srcOrd="0" destOrd="0" presId="urn:microsoft.com/office/officeart/2009/layout/CirclePictureHierarchy"/>
    <dgm:cxn modelId="{2B67A4BF-DC63-4333-8EE8-7969BEF17100}" type="presOf" srcId="{9C259C41-8D57-49EE-A202-D86EC53E69B5}" destId="{EA853F32-99B4-4C48-A776-EEBAD36FB889}" srcOrd="0" destOrd="0" presId="urn:microsoft.com/office/officeart/2009/layout/CirclePictureHierarchy"/>
    <dgm:cxn modelId="{F5033935-B3D2-4079-BA4E-0AAC1D36D86F}" type="presOf" srcId="{41EAFA2B-6431-41C0-A843-FFB69287E7AA}" destId="{512CAB36-A076-40AC-8103-99AD11614ABF}" srcOrd="0" destOrd="0" presId="urn:microsoft.com/office/officeart/2009/layout/CirclePictureHierarchy"/>
    <dgm:cxn modelId="{83B5EFE0-69F2-4A9D-91F7-29122BD20C11}" srcId="{0D653A56-539D-44FD-BEFF-9E95370F1B4B}" destId="{6676D2A1-59FB-4753-9089-2B66F2871C35}" srcOrd="0" destOrd="0" parTransId="{06BCFB5F-044E-474F-92D9-BD34429CFDB9}" sibTransId="{E5425ED6-41CE-4BBE-AACB-7F37FDD0418D}"/>
    <dgm:cxn modelId="{6C6F349A-E8DE-4AFA-8403-D0714468B69B}" srcId="{7B2F20FE-F6DF-44D7-AA8E-97F0AF03877A}" destId="{9C259C41-8D57-49EE-A202-D86EC53E69B5}" srcOrd="0" destOrd="0" parTransId="{1BC3EF34-198D-4161-ACC2-BE4C7C7FC6FC}" sibTransId="{26A307E5-99E7-45C6-9C30-77C1672748CB}"/>
    <dgm:cxn modelId="{3A279327-986E-478C-94E2-4ABAF252A88F}" type="presOf" srcId="{41B4A4AD-506A-4A29-A7F8-4E18072C9B82}" destId="{D67BEB13-E3F4-4EA9-8C76-184C13B4B558}" srcOrd="0" destOrd="0" presId="urn:microsoft.com/office/officeart/2009/layout/CirclePictureHierarchy"/>
    <dgm:cxn modelId="{00FB7F4E-D70D-48BD-8E4D-75EE33C0CF73}" type="presOf" srcId="{06BCFB5F-044E-474F-92D9-BD34429CFDB9}" destId="{46587A7A-684F-4326-AD3A-B2AFE0630213}" srcOrd="0" destOrd="0" presId="urn:microsoft.com/office/officeart/2009/layout/CirclePictureHierarchy"/>
    <dgm:cxn modelId="{68A01DB1-105D-4C6E-A98F-FC49F9CB459C}" type="presOf" srcId="{CF640C91-CFEA-49FE-857C-127AC7879969}" destId="{FD8943B5-4659-4A64-AB6C-8907952FCFC1}" srcOrd="0" destOrd="0" presId="urn:microsoft.com/office/officeart/2009/layout/CirclePictureHierarchy"/>
    <dgm:cxn modelId="{DDA8689A-07BB-4960-A0DB-A70C35F35CE7}" type="presOf" srcId="{8B4AC9AA-2EFA-43D9-8F6C-C2A5D6404996}" destId="{0F6AA520-1308-40DD-A285-CBB8B9E0A8C7}" srcOrd="0" destOrd="0" presId="urn:microsoft.com/office/officeart/2009/layout/CirclePictureHierarchy"/>
    <dgm:cxn modelId="{2D0E91BE-0ECB-4CE1-9795-3B23A16A0DBA}" srcId="{9C259C41-8D57-49EE-A202-D86EC53E69B5}" destId="{0D653A56-539D-44FD-BEFF-9E95370F1B4B}" srcOrd="0" destOrd="0" parTransId="{CF640C91-CFEA-49FE-857C-127AC7879969}" sibTransId="{E1DF0FFF-B305-4777-AADC-C385CDE4771E}"/>
    <dgm:cxn modelId="{E4A45747-212C-4BDE-9EFE-D1B1C8F03E37}" srcId="{8B4AC9AA-2EFA-43D9-8F6C-C2A5D6404996}" destId="{9FA63974-C94E-4854-8DAD-07252D83AEB0}" srcOrd="0" destOrd="0" parTransId="{9EF26CD6-0898-4C36-B76A-8B5D3E031705}" sibTransId="{3710FC63-9453-4180-AD01-31FFD3EE37EC}"/>
    <dgm:cxn modelId="{47254CEA-87FF-4C8A-8829-172944C69EF2}" type="presOf" srcId="{9FA63974-C94E-4854-8DAD-07252D83AEB0}" destId="{F0C3C6F7-9302-47C2-9E22-54D59FB9AC9A}" srcOrd="0" destOrd="0" presId="urn:microsoft.com/office/officeart/2009/layout/CirclePictureHierarchy"/>
    <dgm:cxn modelId="{F36B501F-E837-4263-884B-7B8D59B1D823}" type="presOf" srcId="{BCBBD335-39ED-4E62-8F52-4AC6EE3D9BB7}" destId="{AD1E3388-F32F-4A91-AB4E-4666551F4892}" srcOrd="0" destOrd="0" presId="urn:microsoft.com/office/officeart/2009/layout/CirclePictureHierarchy"/>
    <dgm:cxn modelId="{427C55A4-A92A-4ADD-AF65-A14C7ACA00AF}" type="presOf" srcId="{6676D2A1-59FB-4753-9089-2B66F2871C35}" destId="{22A5F2D7-9EAA-4D05-B67B-E1F19DE88048}" srcOrd="0" destOrd="0" presId="urn:microsoft.com/office/officeart/2009/layout/CirclePictureHierarchy"/>
    <dgm:cxn modelId="{4E9FAC2C-8E84-41E5-8A55-8A524573B172}" type="presParOf" srcId="{24884889-44A0-4A12-A147-869C9F821704}" destId="{B848ECC2-ED42-4793-B722-49BE947865BF}" srcOrd="0" destOrd="0" presId="urn:microsoft.com/office/officeart/2009/layout/CirclePictureHierarchy"/>
    <dgm:cxn modelId="{2C11AC4C-6B2C-4F46-AB60-E772520FB063}" type="presParOf" srcId="{B848ECC2-ED42-4793-B722-49BE947865BF}" destId="{7B2B06BC-519D-4B5E-A7B1-2DFB71507CC7}" srcOrd="0" destOrd="0" presId="urn:microsoft.com/office/officeart/2009/layout/CirclePictureHierarchy"/>
    <dgm:cxn modelId="{9B12E774-63D0-4B0D-A466-7212DAB639B0}" type="presParOf" srcId="{7B2B06BC-519D-4B5E-A7B1-2DFB71507CC7}" destId="{DB4CB740-2B29-4A13-8EC8-E830E3F09529}" srcOrd="0" destOrd="0" presId="urn:microsoft.com/office/officeart/2009/layout/CirclePictureHierarchy"/>
    <dgm:cxn modelId="{4003286D-BBD2-437E-8632-5F879F3CDE05}" type="presParOf" srcId="{7B2B06BC-519D-4B5E-A7B1-2DFB71507CC7}" destId="{EA853F32-99B4-4C48-A776-EEBAD36FB889}" srcOrd="1" destOrd="0" presId="urn:microsoft.com/office/officeart/2009/layout/CirclePictureHierarchy"/>
    <dgm:cxn modelId="{ADA91003-679A-4EF8-9DAB-DCAC9CAFC15A}" type="presParOf" srcId="{B848ECC2-ED42-4793-B722-49BE947865BF}" destId="{9CDBA271-A7D4-49C2-9FD9-66621E9A26F0}" srcOrd="1" destOrd="0" presId="urn:microsoft.com/office/officeart/2009/layout/CirclePictureHierarchy"/>
    <dgm:cxn modelId="{2B2F2FE2-D574-4794-9B3A-9C47220FB7FF}" type="presParOf" srcId="{9CDBA271-A7D4-49C2-9FD9-66621E9A26F0}" destId="{FD8943B5-4659-4A64-AB6C-8907952FCFC1}" srcOrd="0" destOrd="0" presId="urn:microsoft.com/office/officeart/2009/layout/CirclePictureHierarchy"/>
    <dgm:cxn modelId="{56134255-2F04-4EAC-BD43-AA225E6B10C7}" type="presParOf" srcId="{9CDBA271-A7D4-49C2-9FD9-66621E9A26F0}" destId="{F8AFF3FF-C1E2-4E04-B382-73BEBECD6433}" srcOrd="1" destOrd="0" presId="urn:microsoft.com/office/officeart/2009/layout/CirclePictureHierarchy"/>
    <dgm:cxn modelId="{6CAE5AF2-1464-4D8F-8080-4F2920F40C56}" type="presParOf" srcId="{F8AFF3FF-C1E2-4E04-B382-73BEBECD6433}" destId="{5F80E5ED-ABCA-4D5D-8B2B-0BBBB4971C2A}" srcOrd="0" destOrd="0" presId="urn:microsoft.com/office/officeart/2009/layout/CirclePictureHierarchy"/>
    <dgm:cxn modelId="{E255E64E-FF2A-4BF7-95B6-2CB0E743FEA0}" type="presParOf" srcId="{5F80E5ED-ABCA-4D5D-8B2B-0BBBB4971C2A}" destId="{294CDA32-962E-4C60-B934-8F04BFA67F47}" srcOrd="0" destOrd="0" presId="urn:microsoft.com/office/officeart/2009/layout/CirclePictureHierarchy"/>
    <dgm:cxn modelId="{8D98A970-E8D3-40BB-8C56-1FD7A0860A35}" type="presParOf" srcId="{5F80E5ED-ABCA-4D5D-8B2B-0BBBB4971C2A}" destId="{FD657F5E-AE50-4898-835F-AAE7DCDCD02A}" srcOrd="1" destOrd="0" presId="urn:microsoft.com/office/officeart/2009/layout/CirclePictureHierarchy"/>
    <dgm:cxn modelId="{8B12C275-9368-409F-8917-783A6C62CCF4}" type="presParOf" srcId="{F8AFF3FF-C1E2-4E04-B382-73BEBECD6433}" destId="{F0DDC337-812C-4751-B4D6-9473C52F257D}" srcOrd="1" destOrd="0" presId="urn:microsoft.com/office/officeart/2009/layout/CirclePictureHierarchy"/>
    <dgm:cxn modelId="{86CE0FCD-25D3-448A-8586-9CD60686A903}" type="presParOf" srcId="{F0DDC337-812C-4751-B4D6-9473C52F257D}" destId="{46587A7A-684F-4326-AD3A-B2AFE0630213}" srcOrd="0" destOrd="0" presId="urn:microsoft.com/office/officeart/2009/layout/CirclePictureHierarchy"/>
    <dgm:cxn modelId="{FF12FA21-E383-407E-B326-8322E63093EA}" type="presParOf" srcId="{F0DDC337-812C-4751-B4D6-9473C52F257D}" destId="{8E34A49F-77C2-4EDE-98E2-29D2A745ED91}" srcOrd="1" destOrd="0" presId="urn:microsoft.com/office/officeart/2009/layout/CirclePictureHierarchy"/>
    <dgm:cxn modelId="{8DC74ED7-4A98-4DD9-B2C3-4118C072D974}" type="presParOf" srcId="{8E34A49F-77C2-4EDE-98E2-29D2A745ED91}" destId="{F50B18EB-FE84-41E8-9996-2C7A4008FE53}" srcOrd="0" destOrd="0" presId="urn:microsoft.com/office/officeart/2009/layout/CirclePictureHierarchy"/>
    <dgm:cxn modelId="{F452A59B-71CB-4318-917D-3AACC99295AF}" type="presParOf" srcId="{F50B18EB-FE84-41E8-9996-2C7A4008FE53}" destId="{3060B05C-5949-4FD5-8F4F-27E1A85E3D9A}" srcOrd="0" destOrd="0" presId="urn:microsoft.com/office/officeart/2009/layout/CirclePictureHierarchy"/>
    <dgm:cxn modelId="{2D8A393D-4C94-482C-9801-85274DEE8BA2}" type="presParOf" srcId="{F50B18EB-FE84-41E8-9996-2C7A4008FE53}" destId="{22A5F2D7-9EAA-4D05-B67B-E1F19DE88048}" srcOrd="1" destOrd="0" presId="urn:microsoft.com/office/officeart/2009/layout/CirclePictureHierarchy"/>
    <dgm:cxn modelId="{FE3D2105-9540-4457-B70E-0B07EAD9BF9F}" type="presParOf" srcId="{8E34A49F-77C2-4EDE-98E2-29D2A745ED91}" destId="{9AD6A7B1-43EB-4565-A626-658FC3BE6E3C}" srcOrd="1" destOrd="0" presId="urn:microsoft.com/office/officeart/2009/layout/CirclePictureHierarchy"/>
    <dgm:cxn modelId="{F75F0605-3AB0-4560-B592-408027DCE771}" type="presParOf" srcId="{F0DDC337-812C-4751-B4D6-9473C52F257D}" destId="{B6E26AE0-2D41-45EE-A47C-568816FE8687}" srcOrd="2" destOrd="0" presId="urn:microsoft.com/office/officeart/2009/layout/CirclePictureHierarchy"/>
    <dgm:cxn modelId="{45FBF353-124B-4CB0-9B71-80DB976332B7}" type="presParOf" srcId="{F0DDC337-812C-4751-B4D6-9473C52F257D}" destId="{122F88AF-F311-498B-BCBE-1DFF86745FE3}" srcOrd="3" destOrd="0" presId="urn:microsoft.com/office/officeart/2009/layout/CirclePictureHierarchy"/>
    <dgm:cxn modelId="{C9B01E01-4EC3-44E5-81F6-0B540DFC746F}" type="presParOf" srcId="{122F88AF-F311-498B-BCBE-1DFF86745FE3}" destId="{211A4747-A2B9-490D-8FA9-7E14F06F6C69}" srcOrd="0" destOrd="0" presId="urn:microsoft.com/office/officeart/2009/layout/CirclePictureHierarchy"/>
    <dgm:cxn modelId="{2114770A-FE4A-4A46-A16C-B09D0D68E7D5}" type="presParOf" srcId="{211A4747-A2B9-490D-8FA9-7E14F06F6C69}" destId="{C1D7D1AD-C387-4FF9-9D7F-91C1B4223DEE}" srcOrd="0" destOrd="0" presId="urn:microsoft.com/office/officeart/2009/layout/CirclePictureHierarchy"/>
    <dgm:cxn modelId="{2853A05C-698E-4197-B2D2-C8D2CAC3CDA8}" type="presParOf" srcId="{211A4747-A2B9-490D-8FA9-7E14F06F6C69}" destId="{D67BEB13-E3F4-4EA9-8C76-184C13B4B558}" srcOrd="1" destOrd="0" presId="urn:microsoft.com/office/officeart/2009/layout/CirclePictureHierarchy"/>
    <dgm:cxn modelId="{01B44898-D8F8-4867-B033-B8CF3E4F7C21}" type="presParOf" srcId="{122F88AF-F311-498B-BCBE-1DFF86745FE3}" destId="{9E860480-505E-4ED4-AC4B-D4273F58FF26}" srcOrd="1" destOrd="0" presId="urn:microsoft.com/office/officeart/2009/layout/CirclePictureHierarchy"/>
    <dgm:cxn modelId="{62D57E5B-2014-4F01-90E4-4E28F2416430}" type="presParOf" srcId="{9CDBA271-A7D4-49C2-9FD9-66621E9A26F0}" destId="{512CAB36-A076-40AC-8103-99AD11614ABF}" srcOrd="2" destOrd="0" presId="urn:microsoft.com/office/officeart/2009/layout/CirclePictureHierarchy"/>
    <dgm:cxn modelId="{49BD06BD-F444-44EC-BCB1-D1333F3FB7F3}" type="presParOf" srcId="{9CDBA271-A7D4-49C2-9FD9-66621E9A26F0}" destId="{6FBEC15A-C7E4-47C5-945C-651BF88A4F73}" srcOrd="3" destOrd="0" presId="urn:microsoft.com/office/officeart/2009/layout/CirclePictureHierarchy"/>
    <dgm:cxn modelId="{88BCE83E-89FD-49C6-BC62-75428421DF9A}" type="presParOf" srcId="{6FBEC15A-C7E4-47C5-945C-651BF88A4F73}" destId="{E0D0A537-8045-44C3-9E50-2ED98DF27E4C}" srcOrd="0" destOrd="0" presId="urn:microsoft.com/office/officeart/2009/layout/CirclePictureHierarchy"/>
    <dgm:cxn modelId="{62FCAF6C-4BA1-4DF6-9DA3-1B32E8E586A4}" type="presParOf" srcId="{E0D0A537-8045-44C3-9E50-2ED98DF27E4C}" destId="{828E5BD4-1A8B-419B-974A-3505D20A8497}" srcOrd="0" destOrd="0" presId="urn:microsoft.com/office/officeart/2009/layout/CirclePictureHierarchy"/>
    <dgm:cxn modelId="{0E98792B-6578-4703-AE88-AEFC04BD0018}" type="presParOf" srcId="{E0D0A537-8045-44C3-9E50-2ED98DF27E4C}" destId="{0F6AA520-1308-40DD-A285-CBB8B9E0A8C7}" srcOrd="1" destOrd="0" presId="urn:microsoft.com/office/officeart/2009/layout/CirclePictureHierarchy"/>
    <dgm:cxn modelId="{D11C0039-9857-4330-8A1F-E4861EE7EDE6}" type="presParOf" srcId="{6FBEC15A-C7E4-47C5-945C-651BF88A4F73}" destId="{F55FB859-2D8B-42A5-96A4-C28886C5141A}" srcOrd="1" destOrd="0" presId="urn:microsoft.com/office/officeart/2009/layout/CirclePictureHierarchy"/>
    <dgm:cxn modelId="{7E67B4AD-C4B6-4B11-96F6-E6A62B46AB64}" type="presParOf" srcId="{F55FB859-2D8B-42A5-96A4-C28886C5141A}" destId="{FCD15B5E-32D9-417E-8865-CF06BDDEC15F}" srcOrd="0" destOrd="0" presId="urn:microsoft.com/office/officeart/2009/layout/CirclePictureHierarchy"/>
    <dgm:cxn modelId="{F808FF33-7486-4D23-81F5-F28F35677DF1}" type="presParOf" srcId="{F55FB859-2D8B-42A5-96A4-C28886C5141A}" destId="{0F870F70-4CC3-4C7A-A32C-2D5BA601057A}" srcOrd="1" destOrd="0" presId="urn:microsoft.com/office/officeart/2009/layout/CirclePictureHierarchy"/>
    <dgm:cxn modelId="{F9F7DF45-EF91-4CD3-BAA0-D1F470EFF1A6}" type="presParOf" srcId="{0F870F70-4CC3-4C7A-A32C-2D5BA601057A}" destId="{9DEF5DFE-A1A5-4010-A705-3309F1CB40F1}" srcOrd="0" destOrd="0" presId="urn:microsoft.com/office/officeart/2009/layout/CirclePictureHierarchy"/>
    <dgm:cxn modelId="{08AFDF01-C134-4D69-AC12-D7133CC15B89}" type="presParOf" srcId="{9DEF5DFE-A1A5-4010-A705-3309F1CB40F1}" destId="{F22DCD60-8EB8-442A-8E44-1923FB72C843}" srcOrd="0" destOrd="0" presId="urn:microsoft.com/office/officeart/2009/layout/CirclePictureHierarchy"/>
    <dgm:cxn modelId="{45F6F2B3-2D58-4C65-AD4C-49E3E074AE4D}" type="presParOf" srcId="{9DEF5DFE-A1A5-4010-A705-3309F1CB40F1}" destId="{F0C3C6F7-9302-47C2-9E22-54D59FB9AC9A}" srcOrd="1" destOrd="0" presId="urn:microsoft.com/office/officeart/2009/layout/CirclePictureHierarchy"/>
    <dgm:cxn modelId="{C7A83031-A850-45FA-AD3E-4DF71F37F9CC}" type="presParOf" srcId="{0F870F70-4CC3-4C7A-A32C-2D5BA601057A}" destId="{29DF63D6-7DA3-447F-AF22-B96A2F38499D}" srcOrd="1" destOrd="0" presId="urn:microsoft.com/office/officeart/2009/layout/CirclePictureHierarchy"/>
    <dgm:cxn modelId="{CD12DAD5-0CCE-42AD-88C2-4B4650823252}" type="presParOf" srcId="{F55FB859-2D8B-42A5-96A4-C28886C5141A}" destId="{0176CC9D-7C2F-467F-B81E-F88239D741E2}" srcOrd="2" destOrd="0" presId="urn:microsoft.com/office/officeart/2009/layout/CirclePictureHierarchy"/>
    <dgm:cxn modelId="{A5E7259F-E4D8-46C4-98B3-9E58A434AADE}" type="presParOf" srcId="{F55FB859-2D8B-42A5-96A4-C28886C5141A}" destId="{51C95626-8CB6-4EA6-A5F5-C12D1475FA03}" srcOrd="3" destOrd="0" presId="urn:microsoft.com/office/officeart/2009/layout/CirclePictureHierarchy"/>
    <dgm:cxn modelId="{1B929452-7272-498E-8CCF-FFB4A3F430C7}" type="presParOf" srcId="{51C95626-8CB6-4EA6-A5F5-C12D1475FA03}" destId="{ADDFF400-B13C-4AE1-ADEE-FB01C8C7B300}" srcOrd="0" destOrd="0" presId="urn:microsoft.com/office/officeart/2009/layout/CirclePictureHierarchy"/>
    <dgm:cxn modelId="{A8647E6C-8300-4F75-95E6-DA7DA64E843F}" type="presParOf" srcId="{ADDFF400-B13C-4AE1-ADEE-FB01C8C7B300}" destId="{690D80E9-4917-4912-A67B-D2ED4E0A4A8E}" srcOrd="0" destOrd="0" presId="urn:microsoft.com/office/officeart/2009/layout/CirclePictureHierarchy"/>
    <dgm:cxn modelId="{CD659F44-66C2-49A1-88B4-CF2CE8265844}" type="presParOf" srcId="{ADDFF400-B13C-4AE1-ADEE-FB01C8C7B300}" destId="{AD1E3388-F32F-4A91-AB4E-4666551F4892}" srcOrd="1" destOrd="0" presId="urn:microsoft.com/office/officeart/2009/layout/CirclePictureHierarchy"/>
    <dgm:cxn modelId="{D63C382C-3096-47E2-A1E4-C2E49C866918}" type="presParOf" srcId="{51C95626-8CB6-4EA6-A5F5-C12D1475FA03}" destId="{B57CF30B-95BD-441B-846B-6619F368EC2F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6CC9D-7C2F-467F-B81E-F88239D741E2}">
      <dsp:nvSpPr>
        <dsp:cNvPr id="0" name=""/>
        <dsp:cNvSpPr/>
      </dsp:nvSpPr>
      <dsp:spPr>
        <a:xfrm>
          <a:off x="5819219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07"/>
              </a:lnTo>
              <a:lnTo>
                <a:pt x="1084475" y="125207"/>
              </a:lnTo>
              <a:lnTo>
                <a:pt x="1084475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D15B5E-32D9-417E-8865-CF06BDDEC15F}">
      <dsp:nvSpPr>
        <dsp:cNvPr id="0" name=""/>
        <dsp:cNvSpPr/>
      </dsp:nvSpPr>
      <dsp:spPr>
        <a:xfrm>
          <a:off x="4734743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1084475" y="0"/>
              </a:moveTo>
              <a:lnTo>
                <a:pt x="1084475" y="125207"/>
              </a:lnTo>
              <a:lnTo>
                <a:pt x="0" y="125207"/>
              </a:lnTo>
              <a:lnTo>
                <a:pt x="0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2CAB36-A076-40AC-8103-99AD11614ABF}">
      <dsp:nvSpPr>
        <dsp:cNvPr id="0" name=""/>
        <dsp:cNvSpPr/>
      </dsp:nvSpPr>
      <dsp:spPr>
        <a:xfrm>
          <a:off x="3650267" y="839324"/>
          <a:ext cx="2168951" cy="24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07"/>
              </a:lnTo>
              <a:lnTo>
                <a:pt x="2168951" y="125207"/>
              </a:lnTo>
              <a:lnTo>
                <a:pt x="2168951" y="24844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E26AE0-2D41-45EE-A47C-568816FE8687}">
      <dsp:nvSpPr>
        <dsp:cNvPr id="0" name=""/>
        <dsp:cNvSpPr/>
      </dsp:nvSpPr>
      <dsp:spPr>
        <a:xfrm>
          <a:off x="1481316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07"/>
              </a:lnTo>
              <a:lnTo>
                <a:pt x="1084475" y="125207"/>
              </a:lnTo>
              <a:lnTo>
                <a:pt x="1084475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587A7A-684F-4326-AD3A-B2AFE0630213}">
      <dsp:nvSpPr>
        <dsp:cNvPr id="0" name=""/>
        <dsp:cNvSpPr/>
      </dsp:nvSpPr>
      <dsp:spPr>
        <a:xfrm>
          <a:off x="396840" y="1876478"/>
          <a:ext cx="1084475" cy="248443"/>
        </a:xfrm>
        <a:custGeom>
          <a:avLst/>
          <a:gdLst/>
          <a:ahLst/>
          <a:cxnLst/>
          <a:rect l="0" t="0" r="0" b="0"/>
          <a:pathLst>
            <a:path>
              <a:moveTo>
                <a:pt x="1084475" y="0"/>
              </a:moveTo>
              <a:lnTo>
                <a:pt x="1084475" y="125207"/>
              </a:lnTo>
              <a:lnTo>
                <a:pt x="0" y="125207"/>
              </a:lnTo>
              <a:lnTo>
                <a:pt x="0" y="24844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8943B5-4659-4A64-AB6C-8907952FCFC1}">
      <dsp:nvSpPr>
        <dsp:cNvPr id="0" name=""/>
        <dsp:cNvSpPr/>
      </dsp:nvSpPr>
      <dsp:spPr>
        <a:xfrm>
          <a:off x="1481316" y="839324"/>
          <a:ext cx="2168951" cy="248443"/>
        </a:xfrm>
        <a:custGeom>
          <a:avLst/>
          <a:gdLst/>
          <a:ahLst/>
          <a:cxnLst/>
          <a:rect l="0" t="0" r="0" b="0"/>
          <a:pathLst>
            <a:path>
              <a:moveTo>
                <a:pt x="2168951" y="0"/>
              </a:moveTo>
              <a:lnTo>
                <a:pt x="2168951" y="125207"/>
              </a:lnTo>
              <a:lnTo>
                <a:pt x="0" y="125207"/>
              </a:lnTo>
              <a:lnTo>
                <a:pt x="0" y="24844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4CB740-2B29-4A13-8EC8-E830E3F09529}">
      <dsp:nvSpPr>
        <dsp:cNvPr id="0" name=""/>
        <dsp:cNvSpPr/>
      </dsp:nvSpPr>
      <dsp:spPr>
        <a:xfrm>
          <a:off x="3255912" y="50615"/>
          <a:ext cx="788709" cy="788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853F32-99B4-4C48-A776-EEBAD36FB889}">
      <dsp:nvSpPr>
        <dsp:cNvPr id="0" name=""/>
        <dsp:cNvSpPr/>
      </dsp:nvSpPr>
      <dsp:spPr>
        <a:xfrm>
          <a:off x="4044622" y="48643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ata</a:t>
          </a:r>
          <a:endParaRPr lang="en-US" sz="1100" kern="1200" dirty="0"/>
        </a:p>
      </dsp:txBody>
      <dsp:txXfrm>
        <a:off x="4044622" y="48643"/>
        <a:ext cx="1183064" cy="788709"/>
      </dsp:txXfrm>
    </dsp:sp>
    <dsp:sp modelId="{294CDA32-962E-4C60-B934-8F04BFA67F47}">
      <dsp:nvSpPr>
        <dsp:cNvPr id="0" name=""/>
        <dsp:cNvSpPr/>
      </dsp:nvSpPr>
      <dsp:spPr>
        <a:xfrm>
          <a:off x="1086961" y="1087768"/>
          <a:ext cx="788709" cy="78870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657F5E-AE50-4898-835F-AAE7DCDCD02A}">
      <dsp:nvSpPr>
        <dsp:cNvPr id="0" name=""/>
        <dsp:cNvSpPr/>
      </dsp:nvSpPr>
      <dsp:spPr>
        <a:xfrm>
          <a:off x="1875670" y="1085796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Categorical</a:t>
          </a:r>
          <a:endParaRPr lang="en-US" sz="1100" kern="1200" dirty="0"/>
        </a:p>
      </dsp:txBody>
      <dsp:txXfrm>
        <a:off x="1875670" y="1085796"/>
        <a:ext cx="1183064" cy="788709"/>
      </dsp:txXfrm>
    </dsp:sp>
    <dsp:sp modelId="{3060B05C-5949-4FD5-8F4F-27E1A85E3D9A}">
      <dsp:nvSpPr>
        <dsp:cNvPr id="0" name=""/>
        <dsp:cNvSpPr/>
      </dsp:nvSpPr>
      <dsp:spPr>
        <a:xfrm>
          <a:off x="2485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A5F2D7-9EAA-4D05-B67B-E1F19DE88048}">
      <dsp:nvSpPr>
        <dsp:cNvPr id="0" name=""/>
        <dsp:cNvSpPr/>
      </dsp:nvSpPr>
      <dsp:spPr>
        <a:xfrm>
          <a:off x="791195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Nomin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BldgType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791195" y="2122950"/>
        <a:ext cx="1183064" cy="788709"/>
      </dsp:txXfrm>
    </dsp:sp>
    <dsp:sp modelId="{C1D7D1AD-C387-4FF9-9D7F-91C1B4223DEE}">
      <dsp:nvSpPr>
        <dsp:cNvPr id="0" name=""/>
        <dsp:cNvSpPr/>
      </dsp:nvSpPr>
      <dsp:spPr>
        <a:xfrm>
          <a:off x="2171437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7BEB13-E3F4-4EA9-8C76-184C13B4B558}">
      <dsp:nvSpPr>
        <dsp:cNvPr id="0" name=""/>
        <dsp:cNvSpPr/>
      </dsp:nvSpPr>
      <dsp:spPr>
        <a:xfrm>
          <a:off x="2960146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Ordin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PoolQC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2960146" y="2122950"/>
        <a:ext cx="1183064" cy="788709"/>
      </dsp:txXfrm>
    </dsp:sp>
    <dsp:sp modelId="{828E5BD4-1A8B-419B-974A-3505D20A8497}">
      <dsp:nvSpPr>
        <dsp:cNvPr id="0" name=""/>
        <dsp:cNvSpPr/>
      </dsp:nvSpPr>
      <dsp:spPr>
        <a:xfrm>
          <a:off x="5424864" y="1087768"/>
          <a:ext cx="788709" cy="78870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6AA520-1308-40DD-A285-CBB8B9E0A8C7}">
      <dsp:nvSpPr>
        <dsp:cNvPr id="0" name=""/>
        <dsp:cNvSpPr/>
      </dsp:nvSpPr>
      <dsp:spPr>
        <a:xfrm>
          <a:off x="6213574" y="1085796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Numeric</a:t>
          </a:r>
          <a:endParaRPr lang="en-US" sz="1100" kern="1200" dirty="0"/>
        </a:p>
      </dsp:txBody>
      <dsp:txXfrm>
        <a:off x="6213574" y="1085796"/>
        <a:ext cx="1183064" cy="788709"/>
      </dsp:txXfrm>
    </dsp:sp>
    <dsp:sp modelId="{F22DCD60-8EB8-442A-8E44-1923FB72C843}">
      <dsp:nvSpPr>
        <dsp:cNvPr id="0" name=""/>
        <dsp:cNvSpPr/>
      </dsp:nvSpPr>
      <dsp:spPr>
        <a:xfrm>
          <a:off x="4340388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C3C6F7-9302-47C2-9E22-54D59FB9AC9A}">
      <dsp:nvSpPr>
        <dsp:cNvPr id="0" name=""/>
        <dsp:cNvSpPr/>
      </dsp:nvSpPr>
      <dsp:spPr>
        <a:xfrm>
          <a:off x="5129098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Floats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Frontage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5129098" y="2122950"/>
        <a:ext cx="1183064" cy="788709"/>
      </dsp:txXfrm>
    </dsp:sp>
    <dsp:sp modelId="{690D80E9-4917-4912-A67B-D2ED4E0A4A8E}">
      <dsp:nvSpPr>
        <dsp:cNvPr id="0" name=""/>
        <dsp:cNvSpPr/>
      </dsp:nvSpPr>
      <dsp:spPr>
        <a:xfrm>
          <a:off x="6509340" y="2124921"/>
          <a:ext cx="788709" cy="7887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1E3388-F32F-4A91-AB4E-4666551F4892}">
      <dsp:nvSpPr>
        <dsp:cNvPr id="0" name=""/>
        <dsp:cNvSpPr/>
      </dsp:nvSpPr>
      <dsp:spPr>
        <a:xfrm>
          <a:off x="7298050" y="2122950"/>
          <a:ext cx="1183064" cy="7887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Int</a:t>
          </a:r>
          <a:endParaRPr lang="en-US" sz="1100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(</a:t>
          </a:r>
          <a:r>
            <a:rPr lang="en-US" sz="1100" b="1" i="1" kern="1200" dirty="0" err="1" smtClean="0">
              <a:latin typeface="Courier New" panose="02070309020205020404" pitchFamily="49" charset="0"/>
              <a:cs typeface="Courier New" panose="02070309020205020404" pitchFamily="49" charset="0"/>
            </a:rPr>
            <a:t>LotArea</a:t>
          </a:r>
          <a:r>
            <a:rPr lang="en-US" sz="1100" kern="1200" dirty="0" smtClean="0"/>
            <a:t>)</a:t>
          </a:r>
          <a:endParaRPr lang="en-US" sz="1100" kern="1200" dirty="0"/>
        </a:p>
      </dsp:txBody>
      <dsp:txXfrm>
        <a:off x="7298050" y="2122950"/>
        <a:ext cx="1183064" cy="7887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BB3AF39-3865-405C-AD60-DE2C92E0F022}" type="datetimeFigureOut">
              <a:rPr lang="en-US" smtClean="0"/>
              <a:pPr/>
              <a:t>12/0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6532BA5-95EB-44E3-A2B2-5021049704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75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825D01C-3DBF-4AFD-A8CF-9BF212C8018C}" type="datetimeFigureOut">
              <a:rPr lang="en-US" smtClean="0"/>
              <a:pPr/>
              <a:t>12/0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492B0DE-5900-4435-96F6-6103D0E9F8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64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/>
              <a:t>45</a:t>
            </a:r>
            <a:r>
              <a:rPr lang="en-US" baseline="0" dirty="0" smtClean="0"/>
              <a:t> secon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3176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40 seconds = 5: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978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40 seconds = 6:0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689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(10</a:t>
            </a:r>
            <a:r>
              <a:rPr lang="en-US" b="0" baseline="0" dirty="0" smtClean="0"/>
              <a:t> seconds)</a:t>
            </a:r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033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(10</a:t>
            </a:r>
            <a:r>
              <a:rPr lang="en-US" b="0" baseline="0" dirty="0" smtClean="0"/>
              <a:t> seconds)</a:t>
            </a:r>
            <a:endParaRPr lang="en-US" b="0" i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633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(10</a:t>
            </a:r>
            <a:r>
              <a:rPr lang="en-US" b="0" baseline="0" dirty="0" smtClean="0"/>
              <a:t> seconds) = 1: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011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/>
              <a:t>45</a:t>
            </a:r>
            <a:r>
              <a:rPr lang="en-US" b="0" baseline="0" dirty="0" smtClean="0"/>
              <a:t> seconds = 2: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513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39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 = 4:15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497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5 seconds = 4: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338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20 seconds = 4:4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47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42739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069027"/>
            <a:ext cx="12192000" cy="7889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36825" y="1067617"/>
            <a:ext cx="7239000" cy="557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93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9017" y="347940"/>
            <a:ext cx="0" cy="90380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51560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2400" b="1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dirty="0" smtClean="0">
                <a:solidFill>
                  <a:schemeClr val="accent1"/>
                </a:solidFill>
              </a:defRPr>
            </a:lvl2pPr>
            <a:lvl3pPr>
              <a:defRPr lang="en-US" dirty="0" smtClean="0">
                <a:solidFill>
                  <a:schemeClr val="accent1"/>
                </a:solidFill>
              </a:defRPr>
            </a:lvl3pPr>
            <a:lvl4pPr>
              <a:defRPr lang="en-US" dirty="0" smtClean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</a:lstStyle>
          <a:p>
            <a:pPr marL="228578" lvl="0" indent="-228578">
              <a:spcBef>
                <a:spcPct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15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762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297180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0" y="2971800"/>
            <a:ext cx="75184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253492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 rot="5400000" flipH="1">
            <a:off x="8940801" y="2992120"/>
            <a:ext cx="914400" cy="914400"/>
            <a:chOff x="2460624" y="3124200"/>
            <a:chExt cx="914400" cy="9144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2489200" y="312420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2917824" y="268732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0442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111147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1" y="1103217"/>
            <a:ext cx="7518400" cy="914400"/>
          </a:xfrm>
          <a:prstGeom prst="rect">
            <a:avLst/>
          </a:prstGeom>
        </p:spPr>
        <p:txBody>
          <a:bodyPr anchor="ctr"/>
          <a:lstStyle>
            <a:lvl1pPr marL="231775" indent="0" algn="l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67459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336800" y="2454497"/>
            <a:ext cx="0" cy="3105475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93988" y="2454497"/>
            <a:ext cx="1709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OPE OF THE</a:t>
            </a:r>
            <a:r>
              <a:rPr lang="en-US" baseline="0" dirty="0"/>
              <a:t> MILESTON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336801" y="2483072"/>
            <a:ext cx="7518400" cy="3076899"/>
          </a:xfrm>
          <a:prstGeom prst="rect">
            <a:avLst/>
          </a:prstGeom>
        </p:spPr>
        <p:txBody>
          <a:bodyPr lIns="274320" anchor="t"/>
          <a:lstStyle>
            <a:lvl1pPr marL="457200" indent="-457200" algn="l">
              <a:buFontTx/>
              <a:buBlip>
                <a:blip r:embed="rId2"/>
              </a:buBlip>
              <a:defRPr sz="18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2765424" y="5102771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587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3429000"/>
            <a:ext cx="110617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9957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022743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</p:spTree>
    <p:extLst>
      <p:ext uri="{BB962C8B-B14F-4D97-AF65-F5344CB8AC3E}">
        <p14:creationId xmlns:p14="http://schemas.microsoft.com/office/powerpoint/2010/main" val="1612621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3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98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3772040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3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634283" y="6412226"/>
            <a:ext cx="456119" cy="347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87" name="Picture 963" descr="http://static-assets.generalassemb.ly/logos/generalassembly-open-graph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" y="6412226"/>
            <a:ext cx="940270" cy="493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00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1" r:id="rId4"/>
    <p:sldLayoutId id="2147483655" r:id="rId5"/>
    <p:sldLayoutId id="2147483652" r:id="rId6"/>
    <p:sldLayoutId id="2147483654" r:id="rId7"/>
    <p:sldLayoutId id="214748365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0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The Problem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How do we predict the price of a home in Ames, Iow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4520" y="1295877"/>
            <a:ext cx="1118105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he Issue in Context</a:t>
            </a:r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n’t want to pay rent every month for the rest of your life? Buy your own home</a:t>
            </a:r>
            <a:r>
              <a:rPr lang="en-US" dirty="0" smtClean="0"/>
              <a:t>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ired </a:t>
            </a:r>
            <a:r>
              <a:rPr lang="en-US" dirty="0"/>
              <a:t>of living in a small town? Sell your hom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…how </a:t>
            </a:r>
            <a:r>
              <a:rPr lang="en-US" dirty="0"/>
              <a:t>do you put a price tag on it?</a:t>
            </a:r>
          </a:p>
          <a:p>
            <a:endParaRPr lang="en-US" u="sng" dirty="0" smtClean="0"/>
          </a:p>
          <a:p>
            <a:endParaRPr lang="en-US" u="sng" dirty="0"/>
          </a:p>
          <a:p>
            <a:endParaRPr lang="en-US" u="sng" dirty="0"/>
          </a:p>
          <a:p>
            <a:r>
              <a:rPr lang="en-US" b="1" u="sng" dirty="0" smtClean="0"/>
              <a:t>The Approach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plore large set of data on over 2000 homes in Ames, 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struct </a:t>
            </a:r>
            <a:r>
              <a:rPr lang="en-US" i="1" dirty="0" smtClean="0"/>
              <a:t>predictive</a:t>
            </a:r>
            <a:r>
              <a:rPr lang="en-US" dirty="0" smtClean="0"/>
              <a:t> linear regression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valuate model on unseen data</a:t>
            </a:r>
          </a:p>
        </p:txBody>
      </p:sp>
    </p:spTree>
    <p:extLst>
      <p:ext uri="{BB962C8B-B14F-4D97-AF65-F5344CB8AC3E}">
        <p14:creationId xmlns:p14="http://schemas.microsoft.com/office/powerpoint/2010/main" val="254357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cenario Analysis of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Evaluatio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" y="1393812"/>
            <a:ext cx="11088183" cy="417792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09600" y="5740394"/>
            <a:ext cx="110246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Log-Log Ridge Regression </a:t>
            </a:r>
            <a:r>
              <a:rPr lang="en-US" sz="1600" dirty="0" smtClean="0"/>
              <a:t>outperformed other scenarios in terms of both CV Score and Training Set R</a:t>
            </a:r>
            <a:r>
              <a:rPr lang="en-US" sz="1600" baseline="30000" dirty="0" smtClean="0"/>
              <a:t>2</a:t>
            </a:r>
            <a:r>
              <a:rPr lang="en-US" sz="1600" dirty="0" smtClean="0"/>
              <a:t>.</a:t>
            </a: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Dropping log(ordinals) </a:t>
            </a:r>
            <a:r>
              <a:rPr lang="en-US" sz="1600" dirty="0" smtClean="0"/>
              <a:t>typically did better than keeping them in all scenarios.</a:t>
            </a:r>
            <a:endParaRPr lang="en-US" sz="1600" u="sng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6422922" y="2647335"/>
            <a:ext cx="14749" cy="2367116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65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rapping-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Verdict on our Log-Log Ridge Regression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546100" y="1348740"/>
            <a:ext cx="114133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ble to handle </a:t>
            </a:r>
            <a:r>
              <a:rPr lang="en-US" dirty="0"/>
              <a:t>unseen data decently </a:t>
            </a:r>
            <a:r>
              <a:rPr lang="en-US" dirty="0" smtClean="0"/>
              <a:t>well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R</a:t>
            </a:r>
            <a:r>
              <a:rPr lang="en-US" baseline="30000" dirty="0" smtClean="0"/>
              <a:t>2</a:t>
            </a:r>
            <a:r>
              <a:rPr lang="en-US" dirty="0" smtClean="0"/>
              <a:t> Test score, </a:t>
            </a:r>
            <a:r>
              <a:rPr lang="en-US" dirty="0" err="1" smtClean="0"/>
              <a:t>Kaggle</a:t>
            </a:r>
            <a:r>
              <a:rPr lang="en-US" dirty="0" smtClean="0"/>
              <a:t> RMSE scor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ffers from slight overfitting </a:t>
            </a:r>
            <a:r>
              <a:rPr lang="en-US" i="1" dirty="0" smtClean="0">
                <a:solidFill>
                  <a:srgbClr val="FF0000"/>
                </a:solidFill>
              </a:rPr>
              <a:t>(5% diff in R</a:t>
            </a:r>
            <a:r>
              <a:rPr lang="en-US" i="1" baseline="30000" dirty="0" smtClean="0">
                <a:solidFill>
                  <a:srgbClr val="FF0000"/>
                </a:solidFill>
              </a:rPr>
              <a:t>2</a:t>
            </a:r>
            <a:r>
              <a:rPr lang="en-US" i="1" dirty="0" smtClean="0">
                <a:solidFill>
                  <a:srgbClr val="FF0000"/>
                </a:solidFill>
              </a:rPr>
              <a:t> Train vs. Test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ill performs well on a </a:t>
            </a:r>
            <a:r>
              <a:rPr lang="en-US" i="1" dirty="0" smtClean="0"/>
              <a:t>consistent </a:t>
            </a:r>
            <a:r>
              <a:rPr lang="en-US" dirty="0" smtClean="0"/>
              <a:t>basis judging by 5-Fold Cross Validation S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verall, model can be used to predict prices of homes </a:t>
            </a:r>
            <a:r>
              <a:rPr lang="en-US" dirty="0"/>
              <a:t>in Ames, </a:t>
            </a:r>
            <a:r>
              <a:rPr lang="en-US" dirty="0" smtClean="0"/>
              <a:t>IA within a ballpark of true value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46101" y="3547058"/>
            <a:ext cx="1077722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0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73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2886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040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194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34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urther Enqui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46099" y="4053300"/>
            <a:ext cx="1141330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nually select interaction terms to include in the model and examine if RMSE falls fur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roduce polynomial versions of the top 10 highly correlated features with </a:t>
            </a:r>
            <a:r>
              <a:rPr lang="en-US" dirty="0" err="1" smtClean="0"/>
              <a:t>SalePrice</a:t>
            </a:r>
            <a:r>
              <a:rPr lang="en-US" dirty="0" smtClean="0"/>
              <a:t> into the model to see if it improves model predic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lement Gradient Boosting and Random Forests to improve model predic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ing the surviving features from Lasso, how well would OLS perform? What ends up being the threshold at which OLS fail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63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arget Variable –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0737"/>
            <a:ext cx="12192000" cy="477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43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arget Variable –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0737"/>
            <a:ext cx="12192000" cy="474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0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arget Variable - log(</a:t>
            </a:r>
            <a:r>
              <a:rPr lang="en-US" dirty="0"/>
              <a:t>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r>
              <a:rPr lang="en-US" dirty="0" smtClean="0"/>
              <a:t> )</a:t>
            </a:r>
            <a:endParaRPr lang="en-US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27963"/>
            <a:ext cx="12192000" cy="485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21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Some multicollinearity in features, but focus on correl. vs </a:t>
            </a:r>
            <a:r>
              <a:rPr lang="en-US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endParaRPr lang="en-US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672" y="1251760"/>
            <a:ext cx="5032228" cy="512178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72576" y="1252780"/>
            <a:ext cx="1510320" cy="5159446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 flipV="1">
            <a:off x="5010150" y="3307247"/>
            <a:ext cx="4248150" cy="9526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68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Data Cleaning &amp; Feature Enginee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Handling Features by Data Type</a:t>
            </a:r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5338709"/>
              </p:ext>
            </p:extLst>
          </p:nvPr>
        </p:nvGraphicFramePr>
        <p:xfrm>
          <a:off x="1984375" y="1251760"/>
          <a:ext cx="8483600" cy="2962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urved Up Arrow 7"/>
          <p:cNvSpPr/>
          <p:nvPr/>
        </p:nvSpPr>
        <p:spPr>
          <a:xfrm>
            <a:off x="4493894" y="4136785"/>
            <a:ext cx="4627245" cy="914400"/>
          </a:xfrm>
          <a:prstGeom prst="curvedUp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40630" y="5196665"/>
            <a:ext cx="3895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solidFill>
                  <a:srgbClr val="00B050"/>
                </a:solidFill>
              </a:rPr>
              <a:t>Mapping</a:t>
            </a:r>
            <a:r>
              <a:rPr lang="en-US" b="1" dirty="0" smtClean="0">
                <a:solidFill>
                  <a:srgbClr val="00B050"/>
                </a:solidFill>
              </a:rPr>
              <a:t>: Rating/Ranking System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90650" y="4214035"/>
            <a:ext cx="2110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chemeClr val="accent3">
                    <a:lumMod val="75000"/>
                  </a:schemeClr>
                </a:solidFill>
              </a:rPr>
              <a:t>One-Hot Encode</a:t>
            </a:r>
            <a:r>
              <a:rPr lang="en-US" b="1" dirty="0" smtClean="0">
                <a:solidFill>
                  <a:schemeClr val="accent3">
                    <a:lumMod val="75000"/>
                  </a:schemeClr>
                </a:solidFill>
              </a:rPr>
              <a:t>: Dummy Variable</a:t>
            </a:r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2625012" y="4136785"/>
            <a:ext cx="2453482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0000"/>
                </a:solidFill>
                <a:sym typeface="Wingdings" panose="05000000000000000000" pitchFamily="2" charset="2"/>
              </a:rPr>
              <a:t>missing?  string “NA”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192000" y="2868420"/>
            <a:ext cx="151050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0000"/>
                </a:solidFill>
                <a:sym typeface="Wingdings" panose="05000000000000000000" pitchFamily="2" charset="2"/>
              </a:rPr>
              <a:t>missing?  0</a:t>
            </a:r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46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Distributions Some of Noteworthy Numeric Featur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Feature Engineerin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33525"/>
            <a:ext cx="3940175" cy="2649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6420" y="1452071"/>
            <a:ext cx="3972008" cy="273102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4673" y="1452070"/>
            <a:ext cx="3985729" cy="275480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360061" y="4464865"/>
            <a:ext cx="73247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re are also features that are “almost normal” but skewed in the same way that </a:t>
            </a:r>
            <a:r>
              <a:rPr lang="en-US" b="1" i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alePrice</a:t>
            </a:r>
            <a:r>
              <a:rPr lang="en-US" dirty="0" smtClean="0"/>
              <a:t> is!</a:t>
            </a:r>
          </a:p>
          <a:p>
            <a:endParaRPr lang="en-US" dirty="0" smtClean="0"/>
          </a:p>
          <a:p>
            <a:r>
              <a:rPr lang="en-US" u="sng" dirty="0" smtClean="0"/>
              <a:t>Our threshold</a:t>
            </a:r>
            <a:r>
              <a:rPr lang="en-US" dirty="0" smtClean="0"/>
              <a:t>: a feature is moderately skewed if Skew(X) &gt; 0.5</a:t>
            </a:r>
          </a:p>
          <a:p>
            <a:endParaRPr lang="en-US" dirty="0" smtClean="0"/>
          </a:p>
          <a:p>
            <a:r>
              <a:rPr lang="en-US" dirty="0" smtClean="0"/>
              <a:t>Not convinced? See next slide for evidence </a:t>
            </a:r>
            <a:r>
              <a:rPr lang="en-US" dirty="0"/>
              <a:t>to support replacing such features with their </a:t>
            </a:r>
            <a:r>
              <a:rPr lang="en-US" dirty="0" smtClean="0"/>
              <a:t>log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60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Benefits of the Log Transfor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</a:t>
            </a:r>
            <a:r>
              <a:rPr lang="en-US" dirty="0" smtClean="0"/>
              <a:t>Feature Engineering &amp; Modelin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515" y="1290441"/>
            <a:ext cx="9988769" cy="515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93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OLS useless with 516 regressors, but Ridge and Lasso </a:t>
            </a:r>
            <a:r>
              <a:rPr lang="en-US" dirty="0" smtClean="0">
                <a:sym typeface="Wingdings" panose="05000000000000000000" pitchFamily="2" charset="2"/>
              </a:rPr>
              <a:t>came throug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Result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6047" y="3926487"/>
            <a:ext cx="4083051" cy="246229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3848" y="3949928"/>
            <a:ext cx="4195685" cy="24622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3848" y="1155427"/>
            <a:ext cx="4148490" cy="262201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6047" y="1155427"/>
            <a:ext cx="4098837" cy="262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98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uko Labs">
      <a:dk1>
        <a:srgbClr val="210D43"/>
      </a:dk1>
      <a:lt1>
        <a:srgbClr val="F0F1F7"/>
      </a:lt1>
      <a:dk2>
        <a:srgbClr val="210D43"/>
      </a:dk2>
      <a:lt2>
        <a:srgbClr val="FFFFFF"/>
      </a:lt2>
      <a:accent1>
        <a:srgbClr val="3C2A70"/>
      </a:accent1>
      <a:accent2>
        <a:srgbClr val="8F68AD"/>
      </a:accent2>
      <a:accent3>
        <a:srgbClr val="96BDE4"/>
      </a:accent3>
      <a:accent4>
        <a:srgbClr val="F0F1F7"/>
      </a:accent4>
      <a:accent5>
        <a:srgbClr val="E58D11"/>
      </a:accent5>
      <a:accent6>
        <a:srgbClr val="FFFFFF"/>
      </a:accent6>
      <a:hlink>
        <a:srgbClr val="8F68AD"/>
      </a:hlink>
      <a:folHlink>
        <a:srgbClr val="2F3C6E"/>
      </a:folHlink>
    </a:clrScheme>
    <a:fontScheme name="Leuko Lab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134</TotalTime>
  <Words>526</Words>
  <Application>Microsoft Office PowerPoint</Application>
  <PresentationFormat>Widescreen</PresentationFormat>
  <Paragraphs>104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ourier New</vt:lpstr>
      <vt:lpstr>Helvetica</vt:lpstr>
      <vt:lpstr>Open Sans</vt:lpstr>
      <vt:lpstr>Wingdings</vt:lpstr>
      <vt:lpstr>Office Theme</vt:lpstr>
      <vt:lpstr>think-cell Slide</vt:lpstr>
      <vt:lpstr>The Problem</vt:lpstr>
      <vt:lpstr>Methodology: Exploratory Data Analysis</vt:lpstr>
      <vt:lpstr>Methodology: Exploratory Data Analysis</vt:lpstr>
      <vt:lpstr>Methodology: Exploratory Data Analysis</vt:lpstr>
      <vt:lpstr>Methodology: Exploratory Data Analysis</vt:lpstr>
      <vt:lpstr>Methodology: Data Cleaning &amp; Feature Engineering</vt:lpstr>
      <vt:lpstr>Methodology: Feature Engineering</vt:lpstr>
      <vt:lpstr>Methodology: Feature Engineering &amp; Modeling</vt:lpstr>
      <vt:lpstr>Modeling: Results</vt:lpstr>
      <vt:lpstr>Modeling: Evaluation</vt:lpstr>
      <vt:lpstr>Wrapping-Up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wid (Boom) Devahastin Na Ayudhya;Benjamin Ming Kai Chua;Dikshant Lalchand Tahilramani;Rohit Giri;Ramon Gamble</dc:creator>
  <cp:lastModifiedBy>Adiwid Devahastin Na Ayudhya</cp:lastModifiedBy>
  <cp:revision>1111</cp:revision>
  <cp:lastPrinted>2016-07-28T11:59:02Z</cp:lastPrinted>
  <dcterms:created xsi:type="dcterms:W3CDTF">2016-06-20T01:45:41Z</dcterms:created>
  <dcterms:modified xsi:type="dcterms:W3CDTF">2018-12-09T00:00:44Z</dcterms:modified>
</cp:coreProperties>
</file>